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656" r:id="rId2"/>
    <p:sldId id="870" r:id="rId3"/>
    <p:sldId id="872" r:id="rId4"/>
    <p:sldId id="873" r:id="rId5"/>
  </p:sldIdLst>
  <p:sldSz cx="12192000" cy="6858000"/>
  <p:notesSz cx="6805613" cy="9944100"/>
  <p:custDataLst>
    <p:tags r:id="rId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80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3B8"/>
    <a:srgbClr val="6D86C4"/>
    <a:srgbClr val="345DAE"/>
    <a:srgbClr val="FF4747"/>
    <a:srgbClr val="2D2B8D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5152" autoAdjust="0"/>
    <p:restoredTop sz="96408" autoAdjust="0"/>
  </p:normalViewPr>
  <p:slideViewPr>
    <p:cSldViewPr snapToGrid="0">
      <p:cViewPr varScale="1">
        <p:scale>
          <a:sx n="103" d="100"/>
          <a:sy n="103" d="100"/>
        </p:scale>
        <p:origin x="138" y="384"/>
      </p:cViewPr>
      <p:guideLst>
        <p:guide pos="279"/>
        <p:guide pos="3840"/>
        <p:guide pos="7355"/>
        <p:guide orient="horz" pos="3203"/>
        <p:guide orient="horz" pos="3748"/>
        <p:guide orient="horz" pos="1525"/>
        <p:guide pos="1980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604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76223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16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08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АПРЕЛЯ 2021</a:t>
            </a:r>
            <a:endParaRPr lang="ru-RU" sz="54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846" y="132246"/>
            <a:ext cx="1442450" cy="51534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60198" y="5922593"/>
            <a:ext cx="3208835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>
              <a:defRPr/>
            </a:pPr>
            <a:r>
              <a:rPr kumimoji="0" 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Код: </a:t>
            </a:r>
            <a:r>
              <a:rPr lang="ru-RU" b="0" dirty="0">
                <a:latin typeface="+mn-lt"/>
              </a:rPr>
              <a:t>15-1084-01</a:t>
            </a:r>
            <a:endParaRPr lang="ru-RU" b="0" dirty="0" smtClean="0">
              <a:solidFill>
                <a:prstClr val="black"/>
              </a:solidFill>
              <a:latin typeface="+mn-lt"/>
            </a:endParaRPr>
          </a:p>
          <a:p>
            <a:pPr lvl="0"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60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sym typeface="Wingdings 2" panose="05020102010507070707" pitchFamily="18" charset="2"/>
              </a:rPr>
              <a:t>90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b="0" i="0" u="none" strike="noStrike" kern="1200" cap="none" spc="0" normalizeH="0" baseline="3000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1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/8, 24 стр., 4 краски.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0198" y="439771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b="1" dirty="0" smtClean="0"/>
              <a:t> 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Линия УМК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Всеобщая история. </a:t>
            </a:r>
            <a:r>
              <a:rPr lang="ru-RU" sz="3200" b="1" spc="-40" dirty="0" err="1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игасин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А. А. (5-9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Calibri" panose="020F050202020403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)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154488" y="1976733"/>
            <a:ext cx="6096000" cy="3524042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Атлас предназначен в качестве учебного пособия по Новой истории XVI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I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I в. для учеников 8 класса общеобразовательной школы и представляет собой современное учебное иллюстрированное картографическое издание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Каждый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тематический разворот атласа содержит комплекс взаимосвязанных информационно-методических материалов (основные и дополнительные карты, объёмные схемы, иллюстрации и пр.)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Атлас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более подробно и полно освещает историю стран Европы, Азии, Америки и Африки в Новое время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Иллюстративный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и текстовый материал содержит важную и интересную информацию, которая непосредственно связана с картами и схемами и, органично дополняя материал учебника, помогает учителю в объяснении исторических событий, а ученику — глубже и полнее усвоить материал. 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</a:pP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                Атлас подходит к любому из учебников по всеобщей истории для 8 класса, синхронизированным с курсом истории России.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021138" y="1404558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стория. Новое время. Атлас. 8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ласс </a:t>
            </a:r>
          </a:p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втор-сост. Лазарева А.В., </a:t>
            </a:r>
            <a:r>
              <a:rPr lang="ru-RU" sz="1400" b="1" dirty="0" err="1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Хандажинская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С.А.</a:t>
            </a:r>
          </a:p>
        </p:txBody>
      </p:sp>
      <p:pic>
        <p:nvPicPr>
          <p:cNvPr id="10" name="Рисунок 9" descr="C:\Users\Ebakalyar\Desktop\HisV8-Atl_cover1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12" y="1592263"/>
            <a:ext cx="2700337" cy="36486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640727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1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5033" y="397178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Серия </a:t>
            </a:r>
            <a:r>
              <a:rPr lang="ru-RU" dirty="0" smtClean="0"/>
              <a:t>«Функциональная грамотность. Учимся для жизни»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4714370" y="2313956"/>
            <a:ext cx="7069591" cy="3908762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b="1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то </a:t>
            </a:r>
            <a:r>
              <a:rPr lang="ru-RU" sz="1400" b="1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пособия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бучающие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 тренировочные эталонные задания,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снованные на реальных жизненных ситуациях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развернутые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писания особенностей оценки заданий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дробные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мментарии, предполагаемые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тветы и критерии оценивания.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400" b="1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Чем </a:t>
            </a:r>
            <a:r>
              <a:rPr lang="ru-RU" sz="1400" b="1" dirty="0">
                <a:ea typeface="Open Sans Light" panose="020B0306030504020204" pitchFamily="34" charset="0"/>
                <a:cs typeface="Open Sans Light" panose="020B0306030504020204" pitchFamily="34" charset="0"/>
              </a:rPr>
              <a:t>помогут пособия: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формировать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мения применять в жизни знания, полученные в школе;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ыявить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и предотвратить возможные затруднения учащихся при выполнении заданий по функциональной грамотности;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высить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нутреннюю мотивацию учащихся.</a:t>
            </a:r>
          </a:p>
          <a:p>
            <a:pPr lvl="0">
              <a:spcBef>
                <a:spcPts val="600"/>
              </a:spcBef>
              <a:defRPr/>
            </a:pPr>
            <a:r>
              <a:rPr lang="ru-RU" sz="1400" b="1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Как </a:t>
            </a:r>
            <a:r>
              <a:rPr lang="ru-RU" sz="1400" b="1" dirty="0">
                <a:ea typeface="Open Sans Light" panose="020B0306030504020204" pitchFamily="34" charset="0"/>
                <a:cs typeface="Open Sans Light" panose="020B0306030504020204" pitchFamily="34" charset="0"/>
              </a:rPr>
              <a:t>использовать пособия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на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уроках и во внеурочной деятельности;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организации внутришкольного мониторинга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14370" y="1532554"/>
            <a:ext cx="6790705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собия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ерии «Функциональная грамотность. Учимся для жизни» предназначены для формирования и мониторинга всех компонентов функциональной грамотности, которые изучаются в международном сравнительном исследовании PISA.</a:t>
            </a:r>
          </a:p>
        </p:txBody>
      </p:sp>
      <p:pic>
        <p:nvPicPr>
          <p:cNvPr id="11" name="Рисунок 10" descr="C:\Users\ABaburin\AppData\Local\Microsoft\Windows\Temporary Internet Files\Content.Word\Читательская 2-1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69" y="2000385"/>
            <a:ext cx="2594020" cy="3443483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27934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4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49056" y="391150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dirty="0"/>
              <a:t>Серия </a:t>
            </a:r>
            <a:r>
              <a:rPr lang="ru-RU" dirty="0" smtClean="0"/>
              <a:t>«Функциональная грамотность. Учимся для жизни»</a:t>
            </a:r>
            <a:endParaRPr lang="ru-RU" dirty="0"/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442913" y="6089272"/>
            <a:ext cx="3475447" cy="256800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Параметры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84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  <a:sym typeface="Wingdings 2"/>
              </a:rPr>
              <a:t>108 </a:t>
            </a:r>
            <a:r>
              <a:rPr kumimoji="0" lang="ru-RU" sz="1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1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/</a:t>
            </a:r>
            <a:r>
              <a:rPr kumimoji="0" lang="ru-RU" sz="1200" b="0" i="0" u="none" strike="noStrike" kern="1200" cap="none" spc="0" normalizeH="0" baseline="-25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16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, </a:t>
            </a:r>
            <a:r>
              <a:rPr lang="ru-RU" sz="12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12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стр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., </a:t>
            </a:r>
            <a:r>
              <a:rPr lang="ru-RU" sz="12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4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Open Sans Light" panose="020B0306030504020204" pitchFamily="34" charset="0"/>
                <a:cs typeface="Open Sans Light" panose="020B0306030504020204" pitchFamily="34" charset="0"/>
              </a:rPr>
              <a:t>краски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965091" y="2265075"/>
            <a:ext cx="6533534" cy="330859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endParaRPr lang="ru-RU" sz="1400" dirty="0" smtClean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грамотность.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.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ь 1 и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en-US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(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апрель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.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.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ь 1 и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(март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-научная грамотность.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(март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 грамотность.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. Часть 1 и </a:t>
            </a: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(март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компетенции. 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(март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мышление.</a:t>
            </a:r>
            <a:b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</a:br>
            <a:r>
              <a:rPr lang="ru-RU" sz="1400" dirty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борник эталонных заданий. Выпуск </a:t>
            </a:r>
            <a:r>
              <a:rPr lang="ru-RU" sz="1400" dirty="0" smtClean="0">
                <a:solidFill>
                  <a:prstClr val="black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(март)</a:t>
            </a:r>
            <a:endParaRPr lang="ru-RU" sz="1400" dirty="0">
              <a:solidFill>
                <a:prstClr val="black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965091" y="2065547"/>
            <a:ext cx="6096000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Ковалева Г.С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 и др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965091" y="1606294"/>
            <a:ext cx="679070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ыпуск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2 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редназначен для учащихся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11-15 лет — новинки марта-апреля 2021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429" y="1867904"/>
            <a:ext cx="4152365" cy="3863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652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106</TotalTime>
  <Words>276</Words>
  <Application>Microsoft Office PowerPoint</Application>
  <PresentationFormat>Широкоэкранный</PresentationFormat>
  <Paragraphs>41</Paragraphs>
  <Slides>4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Open Sans</vt:lpstr>
      <vt:lpstr>Open Sans Light</vt:lpstr>
      <vt:lpstr>Wingdings</vt:lpstr>
      <vt:lpstr>Wingdings 2</vt:lpstr>
      <vt:lpstr>Тема Office</vt:lpstr>
      <vt:lpstr>Слайд think-cell</vt:lpstr>
      <vt:lpstr>НОВИНКИ АПРЕЛЯ 2021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Копьева Наталья Владимировна</cp:lastModifiedBy>
  <cp:revision>1084</cp:revision>
  <cp:lastPrinted>2020-01-23T09:32:00Z</cp:lastPrinted>
  <dcterms:created xsi:type="dcterms:W3CDTF">2018-07-24T05:59:49Z</dcterms:created>
  <dcterms:modified xsi:type="dcterms:W3CDTF">2021-04-16T14:32:06Z</dcterms:modified>
</cp:coreProperties>
</file>